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1"/>
  </p:notesMasterIdLst>
  <p:handoutMasterIdLst>
    <p:handoutMasterId r:id="rId22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069" r:id="rId14"/>
    <p:sldId id="2145706107" r:id="rId15"/>
    <p:sldId id="2145706075" r:id="rId16"/>
    <p:sldId id="2145706106" r:id="rId17"/>
    <p:sldId id="2145706108" r:id="rId18"/>
    <p:sldId id="2145706109" r:id="rId19"/>
    <p:sldId id="21457058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gion" initials="L" lastIdx="36" clrIdx="0">
    <p:extLst>
      <p:ext uri="{19B8F6BF-5375-455C-9EA6-DF929625EA0E}">
        <p15:presenceInfo xmlns:p15="http://schemas.microsoft.com/office/powerpoint/2012/main" userId="Legio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90886" autoAdjust="0"/>
  </p:normalViewPr>
  <p:slideViewPr>
    <p:cSldViewPr snapToGrid="0">
      <p:cViewPr varScale="1">
        <p:scale>
          <a:sx n="78" d="100"/>
          <a:sy n="78" d="100"/>
        </p:scale>
        <p:origin x="87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09:58:50.526" idx="1">
    <p:pos x="6391" y="1924"/>
    <p:text>## hien thi thong tin mentor len trang chinh
```sql 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```
## lay mentor rating theo location va top rating
```sql
SELECT 
	u.id, u.name, l.name as location, u.role_id , j.name as jobtitle
	,COALESCE(AVG(f.rating),0) as average_rating
FROM Userr u
JOIN Jobtitle j ON  u.jobtitle_id = j.id
JOIN Location l on u.location_id = l.id
LEFT JOIN Program p ON u.id = p.mentor_id
LEFT JOIN Challenge c ON u.id = c.mentor_id
LEFT JOIN Course co ON u.id = co.mentor_id
LEFT JOIN Review f ON f.receiver_id = p.id OR f.receiver_id = c.id OR f.receiver_id = co.id
WHERE l.name ='Ho Chi Minh' AND u.role_id = 'R1'
GROUP BY u.id, u.name, location, jobtitle, u.role_id
ORDER BY average_rating DESC;
```
## Lay mentor theo top rating (program , challenges , course)
```sql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
```
## Lay mentor theo jobtitle va top rating
```sql
SELECT 
	u.id, u.name, u.location_id, j.name as jobtitle, u.role_id
	,COALESCE(AVG(f.rating),0) as average_rating
FROM Userr u
JOIN Jobtitle j ON  u.jobtitle_id = j.id
LEFT JOIN Program p ON u.id = p.mentor_id
LEFT JOIN Challenge c ON u.id = c.mentor_id
LEFT JOIN Course co ON u.id = co.mentor_id
LEFT JOIN Review f ON f.receiver_id = p.id OR f.receiver_id = c.id OR f.receiver_id = co.id
WHERE u.role_id = 'R1' and j.name = 'Senior Software Engineaer'
GROUP BY u.id, u.name, u.location_id, j.name, u.role_id
ORDER BY average_rating DESC;
```
## Lay mentor theo ten company
SELECT 
u.name,
l.name as location,
c.name as company,
c.img as imgcompany ,
COALESCE(AVG(f.rating),0) as average_rating
FROM Userr u
JOIN experience e on u.id = e.user_id
JOIN company c on e.company_id = c.id
JOIN Location l on u.location_id = l.id
LEFT JOIN Program p ON u.id = p.mentor_id
LEFT JOIN Challenge ch ON u.id = ch.mentor_id
LEFT JOIN Course co ON u.id = co.mentor_id
LEFT JOIN Review f ON f.receiver_id = p.id OR f.receiver_id = ch.id OR f.receiver_id = co.id
WHERE  c.name = 'bbv'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16:33.112" idx="6">
    <p:pos x="4208" y="2506"/>
    <p:text># lay tat ca location 
```sql
SELECT name from location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56:34.593" idx="35">
    <p:pos x="4234" y="3497"/>
    <p:text/>
    <p:extLst>
      <p:ext uri="{C676402C-5697-4E1C-873F-D02D1690AC5C}">
        <p15:threadingInfo xmlns:p15="http://schemas.microsoft.com/office/powerpoint/2012/main" timeZoneBias="-420"/>
      </p:ext>
    </p:extLst>
  </p:cm>
  <p:cm authorId="1" dt="2024-06-28T15:56:59.868" idx="36">
    <p:pos x="4234" y="3593"/>
    <p:text>SELECT * FROM Jobtitle</p:text>
    <p:extLst>
      <p:ext uri="{C676402C-5697-4E1C-873F-D02D1690AC5C}">
        <p15:threadingInfo xmlns:p15="http://schemas.microsoft.com/office/powerpoint/2012/main" timeZoneBias="-420">
          <p15:parentCm authorId="1" idx="35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8:07.789" idx="7">
    <p:pos x="5392" y="829"/>
    <p:text>## lay name , jobtitle , role , totalprogram , avgrating , totalfollowers , totalstudent, totalfeedback  cua mentor
```sql
SELECT 
    u.id,
    u.name,
    j.name as jobtitle,
    u.location_id,
    u.role_id,
    (SELECT COUNT(*) 
     FROM Program 
     WHERE mentor_id = 'U1') as total_programs,
    (SELECT COUNT(*)
     FROM Review fm
     LEFT JOIN Program p ON fm.receiver_id = p.id
     LEFT JOIN Challenge c ON fm.receiver_id = c.id
     LEFT JOIN Course co ON fm.receiver_id = co.id
     WHERE p.mentor_id = 'U1' OR c.mentor_id = 'U1' OR co.mentor_id = 'U1') as total_feedback,
    (SELECT COUNT(DISTINCT pu.user_id) 
     FROM Program p 
     JOIN ProgramUser pu ON p.id = pu.program_id 
     WHERE p.mentor_id = 'U1') as total_users_in_programs,
    (SELECT COUNT(*) 
     FROM Follow 
     WHERE followee_id = 'U1') as total_followers,
    (SELECT 
     COALESCE(AVG(fm.rating),0)
     FROM Review fm
     LEFT JOIN Program p ON fm.receiver_id = p.id
     LEFT JOIN Challenge c ON fm.receiver_id = c.id
     LEFT JOIN Course co ON fm.receiver_id = co.id
     WHERE p.mentor_id = 'U1' OR c.mentor_id = 'U1' OR co.mentor_id = 'U1') as average_rating
FROM Userr u 
JOIN Jobtitle j on u.jobtitle_id = j.id
WHERE u.id = 'U1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6:52.478" idx="12">
    <p:pos x="4202" y="1418"/>
    <p:text>SELECT 
    p.id,
    p.name,
    p.price,
    AVG(f.rating) AS total_rating
FROM 
    Review f
JOIN 
    Program p ON f.receiver_id = p.id
JOIN 
    Userr sender ON f.sender_id = sender.id
WHERE 
    p.mentor_id = 'U2'
GROUP BY   
    p.id,
    p.name,
    p.price
ORDER BY 
    total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1:24.644" idx="15">
    <p:pos x="4271" y="3249"/>
    <p:text>## lay experience cua 1 user
```sql
SELECT 
    j.name as jobtitle,
    c.name AS company_name,
    e.type
FROM 
    Experience e
JOIN 
    Company c ON e.company_id = c.id
JOIN 
	Jobtitle j on e.jobtitle_id = j.id
WHERE 
    e.user_id = 'U4'
UNION
SELECT 
    p.name AS jobtitle,
    u.name AS company_name,
    'Training' AS type
FROM 
    ProgramUser pu
JOIN 
    Program p ON pu.program_id = p.id
JOIN 
    Userr u ON p.mentor_id = u.id
WHERE 
    pu.user_id = 'U4' and pu.status ='Completed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3:23.599" idx="16">
    <p:pos x="4649" y="3231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S3'
LEFT JOIN Course c ON st.source_id = c.id AND st.sourcetype_id = 'S1'
LEFT JOIN Challenge ch ON st.source_id = ch.id AND st.sourcetype_id = 'S2'
WHERE ci.user_id = 'U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4:55.457" idx="17">
    <p:pos x="5014" y="3231"/>
    <p:text>SELECT 
    fm.sender_id,
    fm.rating, 
    fm.content,
    CASE 
        WHEN P.name IS NOT NULL THEN CONCAT('Program: ', P.name)
        WHEN C.name IS NOT NULL THEN CONCAT('Challenge: ', C.name)
        WHEN CO.name IS NOT NULL THEN CONCAT('Course: ', CO.name)
    END AS name
FROM Review FM
LEFT JOIN Program P ON FM.receiver_id = P.id AND fm.sourcetype_id = 'S3'
LEFT JOIN Challenge C ON FM.receiver_id = C.id AND fm.sourcetype_id = 'S2'
LEFT JOIN Course CO ON FM.receiver_id = CO.id AND fm.sourcetype_id = 'S1'
WHERE 
    P.mentor_id = 'U2' OR 
    C.mentor_id = 'U2' OR 
    CO.mentor_id = 'U2'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00:19.583" idx="3">
    <p:pos x="4706" y="1880"/>
    <p:text>## SELECT ALL FOLLOWER
```sql
SELECT u.name,l.name,DATE(f.datefollow)
FROM followuser f
JOIN userr u on f.follower_id = u.id
JOIN location l on u.location_id = l.id
WHERE f.followee_id = 'U1'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0:23.915" idx="8">
    <p:pos x="4496" y="893"/>
    <p:text>## Dem so luong tat ca follower
```sql
SELECT count(*) 
FROM Follow f 
WHERE followee_id = 'U1'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0:50.962" idx="9">
    <p:pos x="6666" y="964"/>
    <p:text>## dem new follower
SELECT COUNT(*) AS newuser
FROM followuser f
WHERE DATE(f.datefollow) = CURDATE()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08:53.706" idx="18">
    <p:pos x="4711" y="753"/>
    <p:text>SELECT count(*) FROM pos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11.140" idx="19">
    <p:pos x="5564" y="712"/>
    <p:text>SELECT count(*) FROM even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24.151" idx="20">
    <p:pos x="5725" y="1852"/>
    <p:text>SELECT * FROM pos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34.726" idx="21">
    <p:pos x="5619" y="3109"/>
    <p:text>SELECT * FROM even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16:37.080" idx="22">
    <p:pos x="6575" y="766"/>
    <p:text>WITH combined_views AS (
    SELECT views FROM Post
    UNION ALL
    SELECT views FROM Event
)
SELECT SUM(views) AS total_views
FROM combined_views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4:22.719" idx="5">
    <p:pos x="5039" y="1387"/>
    <p:text>## select thong tin co ban cua mentee và số lượng người mentee đang theo dõi
```sql
SELECT 
    u.id,
    u.name,
    j.name as jobtitle,
    l.name as location,
    r.name as role,
    (SELECT COUNT(*) 
     FROM Follow 
     WHERE follower_id = 'U3') as total_followers
FROM Userr u 
JOIN Jobtitle j on u.jobtitle_id = j.id
JOIN Location l on u.location_id = l.id
JOIN Role r on u.role_id = r.id
WHERE u.id = 'U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4:46.397" idx="10">
    <p:pos x="5982" y="657"/>
    <p:text>SELECT ci.id AS CertID, 
       ci.credentialcode, 
       ci.certified_at, 
       COALESCE(p.name, c.name, ch.name) AS CertName
FROM CredentialIssued ci
JOIN SourceTemplate st ON ci.sourcetemplate_id = st.id
LEFT JOIN Program p ON st.source_id = p.id AND st.sourcetype_id = 'S3'
LEFT JOIN Course c ON st.source_id = c.id AND st.sourcetype_id = 'S1'
LEFT JOIN Challenge ch ON st.source_id = ch.id AND st.sourcetype_id = 'S2'
WHERE ci.user_id = 'U3';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5:26.237" idx="11">
    <p:pos x="5636" y="663"/>
    <p:text>SELECT 
    j.name as jobtitle,
    c.name AS company_name,
    e.type
FROM 
    Experience e
JOIN 
    Company c ON e.company_id = c.id
JOIN 
	Jobtitle j on e.jobtitle_id = j.id
WHERE 
    e.user_id = 'U4'
UNION
SELECT 
    p.name AS jobtitle,
    u.name AS company_name,
    'Training' AS type
FROM 
    ProgramUser pu
JOIN 
    Program p ON pu.program_id = p.id
JOIN 
    Userr u ON p.mentor_id = u.id
WHERE 
    pu.user_id = 'U4' and pu.status ='Completed';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7:56.802" idx="13">
    <p:pos x="5744" y="3498"/>
    <p:text>SELECT e.degree , u.name , u.img
 from education e
JOIN University u on e.university_id = u.id
WHERE e.user_id = 'U1'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8:21.847" idx="14">
    <p:pos x="5674" y="2442"/>
    <p:text>Select s.name
From Skill s
JOIN UserSkill us on s.id = us.skill_id
JOIN Userr u on us.user_id = u.id
WHERE u.id ='U1'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32:22.979" idx="23">
    <p:pos x="4872" y="549"/>
    <p:text>SELECT 
    -- Total Users
    (SELECT COUNT(*) FROM Userr) AS TotalUsers,
    -- Users This Month
    (SELECT COUNT(*) FROM Userr
     WHERE MONTH(createAt) = MONTH(CURRENT_DATE) 
       AND YEAR(createAt) = YEAR(CURRENT_DATE)) AS UsersThisMonth,
    -- Percentage Change This Month
    ROUND(
        ((SELECT COUNT(*) FROM Userr
          WHERE MONTH(createAt) = MONTH(CURRENT_DATE) 
            AND YEAR(createAt) = YEAR(CURRENT_DATE)) -
         (SELECT COUNT(*) FROM Userr
          WHERE MONTH(createAt) = MONTH(CURRENT_DATE) - 1 
            AND YEAR(createAt) = YEAR(CURRENT_DATE))
        ) / (SELECT COUNT(*) FROM Userr 
             WHERE MONTH(createAt) = MONTH(CURRENT_DATE) - 1 
               AND YEAR(createAt) = YEAR(CURRENT_DATE)) * 100, 2
    ) AS PercentageChangeThisMonth,
    -- Users This Week
    (SELECT COUNT(*) FROM Userr
     WHERE YEARWEEK(createAt, 1) = YEARWEEK(CURRENT_DATE, 1)) AS UsersThisWeek,
    -- Percentage Change This Week
    ROUND(
        ((SELECT COUNT(*) FROM Userr 
          WHERE YEARWEEK(createAt, 1) = YEARWEEK(CURRENT_DATE, 1)) -
         (SELECT COUNT(*) FROM Userr
          WHERE YEARWEEK(createAt, 1) = YEARWEEK(CURRENT_DATE, 1) - 1)
        ) / (SELECT COUNT(*) FROM Userr
             WHERE YEARWEEK(createAt, 1) = YEARWEEK(CURRENT_DATE, 1) - 1) * 100, 2
    ) AS PercentageChange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14:21.630" idx="24">
    <p:pos x="5838" y="475"/>
    <p:text>SELECT 
    -- Total Mentees
    SUM(CASE WHEN role_id = 'R2' THEN 1 ELSE 0 END) AS TotalMentees,
    -- Total Mentors
    SUM(CASE WHEN role_id = 'R1' THEN 1 ELSE 0 END) AS TotalMentors,
    -- Percentage of Mentees
    ROUND(
        (SUM(CASE WHEN role_id = 'R2' THEN 1 ELSE 0 END) / COUNT(*)) * 100, 2
    ) AS PercentageMentees,
    -- Percentage of Mentors
    ROUND(
        (SUM(CASE WHEN role_id = 'R1' THEN 1 ELSE 0 END) / COUNT(*)) * 100, 2
    ) AS PercentageMentors
FROM Userr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47:28.391" idx="25">
    <p:pos x="4847" y="1707"/>
    <p:text>SELECT 
    -- Mentors This Month
    (SELECT COUNT(*) FROM Userr
     WHERE role_id = 'R1' 
     ) AS TotalMentor,
    -- Percentage Change in Mentors This Month
    ROUND(
        (
            (SELECT COUNT(*) FROM Userr
             WHERE role_id = 'R1' 
               AND MONTH(createAt) = MONTH(CURRENT_DATE) 
               AND YEAR(createAt) = YEAR(CURRENT_DATE)) -
            (SELECT COUNT(*) FROM Userr
             WHERE role_id = 'R1' 
               AND MONTH(createAt) = MONTH(CURRENT_DATE) - 1 
               AND YEAR(createAt) = YEAR(CURRENT_DATE))
        ) / NULLIF(
            (SELECT COUNT(*) FROM Userr
             WHERE role_id = 'R1' 
               AND MONTH(createAt) = MONTH(CURRENT_DATE) - 1 
               AND YEAR(createAt) = YEAR(CURRENT_DATE)), 0
        ) * 100, 2
    )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2:39.756" idx="26">
    <p:pos x="4884" y="1249"/>
    <p:text>SELECT 
    -- Mentors This Month
    (SELECT COUNT(*) FROM Userr
     WHERE role_id = 'R2' 
     ) AS TotalMentor,
    -- Percentage Change in Mentors This Month
    ROUND(
        (
            (SELECT COUNT(*) FROM Userr
             WHERE role_id = 'R2' 
               AND MONTH(createAt) = MONTH(CURRENT_DATE) 
               AND YEAR(createAt) = YEAR(CURRENT_DATE)) -
            (SELECT COUNT(*) FROM Userr
             WHERE role_id = 'R2' 
               AND MONTH(createAt) = MONTH(CURRENT_DATE) - 1 
               AND YEAR(createAt) = YEAR(CURRENT_DATE))
        ) / NULLIF(
            (SELECT COUNT(*) FROM Userr
             WHERE role_id = 'R2' 
               AND MONTH(createAt) = MONTH(CURRENT_DATE) - 1 
               AND YEAR(createAt) = YEAR(CURRENT_DATE)), 0
        ) * 100, 2
    )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7:01.823" idx="27">
    <p:pos x="5727" y="1726"/>
    <p:text>SELECT 
    -- Total Mentors This Week
    (SELECT COUNT(*) FROM Userr2 
     WHERE role_id = 'R1' 
       AND WEEK(createAt, 1) = WEEK(CURRENT_DATE, 1) 
       AND YEAR(createAt) = YEAR(CURRENT_DATE)) AS TotalMentorsThisWeek,
    -- Percentage Change in Mentors This Week vs Last Week
    CASE 
        WHEN (SELECT COUNT(*) FROM Userr2 
              WHERE role_id = 'R1' 
                AND WEEK(createAt, 1) = WEEK(CURRENT_DATE - INTERVAL 1 WEEK, 1) 
                AND YEAR(createAt) = YEAR(CURRENT_DATE - INTERVAL 1 WEEK)) = 0
        THEN 100.00
        ELSE ROUND(
            (
                (SELECT COUNT(*) FROM Userr2 
                 WHERE role_id = 'R1' 
                   AND WEEK(createAt, 1) = WEEK(CURRENT_DATE, 1) 
                   AND YEAR(createAt) = YEAR(CURRENT_DATE)) -
                (SELECT COUNT(*) FROM Userr2 
                 WHERE role_id = 'R1' 
                   AND WEEK(createAt, 1) = WEEK(CURRENT_DATE - INTERVAL 1 WEEK, 1) 
                   AND YEAR(createAt) = YEAR(CURRENT_DATE - INTERVAL 1 WEEK))
            ) / NULLIF(
                (SELECT COUNT(*) FROM Userr2 
                 WHERE role_id = 'R1' 
                   AND WEEK(createAt, 1) = WEEK(CURRENT_DATE - INTERVAL 1 WEEK, 1) 
                   AND YEAR(createAt) = YEAR(CURRENT_DATE - INTERVAL 1 WEEK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9:28.546" idx="28">
    <p:pos x="5689" y="1255"/>
    <p:text>SELECT 
    -- Total Mentors This Week
    (SELECT COUNT(*) FROM Userr 
     WHERE role_id = 'R2' 
       AND WEEK(createAt, 1) = WEEK(CURRENT_DATE, 1) 
       AND YEAR(createAt) = YEAR(CURRENT_DATE)) AS TotalMentorsThisWeek,
    -- Percentage Change in Mentors This Week vs Last Week
    CASE 
        WHEN (SELECT COUNT(*) FROM Userr2 
              WHERE role_id = 'R2' 
                AND WEEK(createAt, 1) = WEEK(CURRENT_DATE - INTERVAL 1 WEEK, 1) 
                AND YEAR(createAt) = YEAR(CURRENT_DATE - INTERVAL 1 WEEK)) = 0
        THEN 100.00
        ELSE ROUND(
            (
                (SELECT COUNT(*) FROM Userr 
                 WHERE role_id = 'R2' 
                   AND WEEK(createAt, 1) = WEEK(CURRENT_DATE, 1) 
                   AND YEAR(createAt) = YEAR(CURRENT_DATE)) -
                (SELECT COUNT(*) FROM Userr
                 WHERE role_id = 'R2' 
                   AND WEEK(createAt, 1) = WEEK(CURRENT_DATE - INTERVAL 1 WEEK, 1) 
                   AND YEAR(createAt) = YEAR(CURRENT_DATE - INTERVAL 1 WEEK))
            ) / NULLIF(
                (SELECT COUNT(*) FROM Userr
                 WHERE role_id = 'R2' 
                   AND WEEK(createAt, 1) = WEEK(CURRENT_DATE - INTERVAL 1 WEEK, 1) 
                   AND YEAR(createAt) = YEAR(CURRENT_DATE - INTERVAL 1 WEEK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34:51.414" idx="29">
    <p:pos x="4857" y="2347"/>
    <p:text>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41:00.275" idx="34">
    <p:pos x="4742" y="3577"/>
    <p:text>SELECT 
    CASE
        WHEN age BETWEEN 15 AND 20 THEN '15-20'
        WHEN age BETWEEN 21 AND 25 THEN '21-25'
        WHEN age BETWEEN 26 AND 30 THEN '26-30'
        WHEN age BETWEEN 31 AND 35 THEN '31-35'
        ELSE 'Other'
    END AS AgeGroup,
    gender,
    COUNT(*) AS Count
FROM Userr
GROUP BY AgeGroup, gender
ORDER BY AgeGroup, gend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8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8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64640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SELECT ALL FOLLOW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*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Follow 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.follow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ollowee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Dem so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luong</a:t>
            </a:r>
            <a:r>
              <a:rPr lang="en-US" sz="1200" b="0" kern="0" noProof="0" dirty="0">
                <a:solidFill>
                  <a:schemeClr val="bg1"/>
                </a:solidFill>
              </a:rPr>
              <a:t> tat ca follow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Follow 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ollowee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12239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5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6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1" y="184125"/>
            <a:ext cx="3481446" cy="739420"/>
          </a:xfrm>
        </p:spPr>
        <p:txBody>
          <a:bodyPr/>
          <a:lstStyle/>
          <a:p>
            <a:r>
              <a:rPr lang="en-GB" noProof="0" dirty="0"/>
              <a:t>Mentor Man</a:t>
            </a:r>
            <a:r>
              <a:rPr lang="en-GB" dirty="0"/>
              <a:t>age Follo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E09A419-BEE4-59F3-71C7-C44EF0009B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234" y="0"/>
            <a:ext cx="7171765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4FB03E-8864-B6F0-DC7E-98BB475F96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28" y="1414970"/>
            <a:ext cx="3622506" cy="4557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9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0" y="184124"/>
            <a:ext cx="3527555" cy="1203649"/>
          </a:xfrm>
        </p:spPr>
        <p:txBody>
          <a:bodyPr/>
          <a:lstStyle/>
          <a:p>
            <a:r>
              <a:rPr lang="en-GB" noProof="0" dirty="0"/>
              <a:t>Mentor Manage Post/Event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5A1A16-D9A2-8F5D-C99A-9BBE1C73E8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2157" y="0"/>
            <a:ext cx="6848488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5F15F3F-9649-8729-AAC8-D32E4BE3B2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902" y="1497185"/>
            <a:ext cx="4688255" cy="386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9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4EFED66-26E5-4859-01F1-CB87279D2D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9960" y="0"/>
            <a:ext cx="5844654" cy="71028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7727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F3477A-D9B2-A3CC-7D79-71273D8CEA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6201" y="0"/>
            <a:ext cx="5890149" cy="833210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37729FB-FAE9-E1FB-FCD2-7A2E088B3F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7756"/>
            <a:ext cx="5793011" cy="110348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8" y="1739695"/>
            <a:ext cx="5297612" cy="6082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680405e6-b67e-4188-afe9-1f6c4cc802d0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microsoft.com/office/2006/metadata/properties"/>
    <ds:schemaRef ds:uri="5a0a5fd8-e554-4dec-ae9e-1a78583e7e4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4651</TotalTime>
  <Words>533</Words>
  <Application>Microsoft Office PowerPoint</Application>
  <PresentationFormat>Widescreen</PresentationFormat>
  <Paragraphs>110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Followers</vt:lpstr>
      <vt:lpstr>Mentor Manage Post/Event </vt:lpstr>
      <vt:lpstr>Mentee Profile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egion</cp:lastModifiedBy>
  <cp:revision>87</cp:revision>
  <dcterms:created xsi:type="dcterms:W3CDTF">2023-03-02T06:20:39Z</dcterms:created>
  <dcterms:modified xsi:type="dcterms:W3CDTF">2024-06-28T09:0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